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594" r:id="rId5"/>
    <p:sldId id="361" r:id="rId6"/>
    <p:sldId id="356" r:id="rId7"/>
  </p:sldIdLst>
  <p:sldSz cx="9144000" cy="5148263"/>
  <p:notesSz cx="6797675" cy="9928225"/>
  <p:custDataLst>
    <p:tags r:id="rId10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2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ubos, Hans" initials="RH" lastIdx="23" clrIdx="0">
    <p:extLst>
      <p:ext uri="{19B8F6BF-5375-455C-9EA6-DF929625EA0E}">
        <p15:presenceInfo xmlns:p15="http://schemas.microsoft.com/office/powerpoint/2012/main" userId="S-1-5-21-2573208799-187067640-1722879566-7985" providerId="AD"/>
      </p:ext>
    </p:extLst>
  </p:cmAuthor>
  <p:cmAuthor id="2" name="Verwaal, Rene" initials="VR" lastIdx="11" clrIdx="1">
    <p:extLst>
      <p:ext uri="{19B8F6BF-5375-455C-9EA6-DF929625EA0E}">
        <p15:presenceInfo xmlns:p15="http://schemas.microsoft.com/office/powerpoint/2012/main" userId="S-1-5-21-2573208799-187067640-1722879566-6709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A904"/>
    <a:srgbClr val="0070BA"/>
    <a:srgbClr val="008000"/>
    <a:srgbClr val="00CC00"/>
    <a:srgbClr val="83D0F5"/>
    <a:srgbClr val="FF00FF"/>
    <a:srgbClr val="C0C0C0"/>
    <a:srgbClr val="FFCC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11181" autoAdjust="0"/>
    <p:restoredTop sz="96242" autoAdjust="0"/>
  </p:normalViewPr>
  <p:slideViewPr>
    <p:cSldViewPr snapToGrid="0">
      <p:cViewPr varScale="1">
        <p:scale>
          <a:sx n="91" d="100"/>
          <a:sy n="91" d="100"/>
        </p:scale>
        <p:origin x="1440" y="90"/>
      </p:cViewPr>
      <p:guideLst>
        <p:guide orient="horz" pos="1622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-2190" y="-108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waal, Rene" userId="dcf22843-c8df-4c7d-8973-cf3d1c762886" providerId="ADAL" clId="{DC3FDA11-34B5-494D-AF2B-6448C4658177}"/>
    <pc:docChg chg="undo custSel modSld">
      <pc:chgData name="Verwaal, Rene" userId="dcf22843-c8df-4c7d-8973-cf3d1c762886" providerId="ADAL" clId="{DC3FDA11-34B5-494D-AF2B-6448C4658177}" dt="2019-01-21T18:49:31.961" v="46" actId="1036"/>
      <pc:docMkLst>
        <pc:docMk/>
      </pc:docMkLst>
      <pc:sldChg chg="modSp">
        <pc:chgData name="Verwaal, Rene" userId="dcf22843-c8df-4c7d-8973-cf3d1c762886" providerId="ADAL" clId="{DC3FDA11-34B5-494D-AF2B-6448C4658177}" dt="2019-01-21T18:49:31.961" v="46" actId="1036"/>
        <pc:sldMkLst>
          <pc:docMk/>
          <pc:sldMk cId="4007236933" sldId="356"/>
        </pc:sldMkLst>
        <pc:picChg chg="mod">
          <ac:chgData name="Verwaal, Rene" userId="dcf22843-c8df-4c7d-8973-cf3d1c762886" providerId="ADAL" clId="{DC3FDA11-34B5-494D-AF2B-6448C4658177}" dt="2019-01-21T18:49:31.961" v="46" actId="1036"/>
          <ac:picMkLst>
            <pc:docMk/>
            <pc:sldMk cId="4007236933" sldId="356"/>
            <ac:picMk id="3" creationId="{ED6C9736-B4F6-49C4-AC84-BF44A13DCEE9}"/>
          </ac:picMkLst>
        </pc:picChg>
      </pc:sldChg>
      <pc:sldChg chg="delSp">
        <pc:chgData name="Verwaal, Rene" userId="dcf22843-c8df-4c7d-8973-cf3d1c762886" providerId="ADAL" clId="{DC3FDA11-34B5-494D-AF2B-6448C4658177}" dt="2019-01-21T18:49:23.282" v="38" actId="478"/>
        <pc:sldMkLst>
          <pc:docMk/>
          <pc:sldMk cId="2132074034" sldId="361"/>
        </pc:sldMkLst>
        <pc:cxnChg chg="del">
          <ac:chgData name="Verwaal, Rene" userId="dcf22843-c8df-4c7d-8973-cf3d1c762886" providerId="ADAL" clId="{DC3FDA11-34B5-494D-AF2B-6448C4658177}" dt="2019-01-21T18:49:23.282" v="38" actId="478"/>
          <ac:cxnSpMkLst>
            <pc:docMk/>
            <pc:sldMk cId="2132074034" sldId="361"/>
            <ac:cxnSpMk id="3" creationId="{25139D7D-1BC0-4ED8-811E-651599472DFD}"/>
          </ac:cxnSpMkLst>
        </pc:cxnChg>
      </pc:sldChg>
      <pc:sldChg chg="modSp">
        <pc:chgData name="Verwaal, Rene" userId="dcf22843-c8df-4c7d-8973-cf3d1c762886" providerId="ADAL" clId="{DC3FDA11-34B5-494D-AF2B-6448C4658177}" dt="2019-01-21T18:49:14.462" v="37" actId="1035"/>
        <pc:sldMkLst>
          <pc:docMk/>
          <pc:sldMk cId="4044032126" sldId="594"/>
        </pc:sldMkLst>
        <pc:spChg chg="mod">
          <ac:chgData name="Verwaal, Rene" userId="dcf22843-c8df-4c7d-8973-cf3d1c762886" providerId="ADAL" clId="{DC3FDA11-34B5-494D-AF2B-6448C4658177}" dt="2019-01-21T18:49:14.462" v="37" actId="1035"/>
          <ac:spMkLst>
            <pc:docMk/>
            <pc:sldMk cId="4044032126" sldId="594"/>
            <ac:spMk id="7" creationId="{CA1A2E20-4184-40A8-8A88-0B663BFA3900}"/>
          </ac:spMkLst>
        </pc:spChg>
        <pc:picChg chg="mod">
          <ac:chgData name="Verwaal, Rene" userId="dcf22843-c8df-4c7d-8973-cf3d1c762886" providerId="ADAL" clId="{DC3FDA11-34B5-494D-AF2B-6448C4658177}" dt="2019-01-21T18:49:14.462" v="37" actId="1035"/>
          <ac:picMkLst>
            <pc:docMk/>
            <pc:sldMk cId="4044032126" sldId="594"/>
            <ac:picMk id="2" creationId="{BFE3098D-48EF-4E7A-ABD7-FB0F7066227A}"/>
          </ac:picMkLst>
        </pc:picChg>
        <pc:picChg chg="mod">
          <ac:chgData name="Verwaal, Rene" userId="dcf22843-c8df-4c7d-8973-cf3d1c762886" providerId="ADAL" clId="{DC3FDA11-34B5-494D-AF2B-6448C4658177}" dt="2019-01-21T18:49:14.462" v="37" actId="1035"/>
          <ac:picMkLst>
            <pc:docMk/>
            <pc:sldMk cId="4044032126" sldId="594"/>
            <ac:picMk id="4" creationId="{23E968B6-61E8-4219-B59A-CDD12B02D4C5}"/>
          </ac:picMkLst>
        </pc:picChg>
        <pc:picChg chg="mod">
          <ac:chgData name="Verwaal, Rene" userId="dcf22843-c8df-4c7d-8973-cf3d1c762886" providerId="ADAL" clId="{DC3FDA11-34B5-494D-AF2B-6448C4658177}" dt="2019-01-21T18:49:14.462" v="37" actId="1035"/>
          <ac:picMkLst>
            <pc:docMk/>
            <pc:sldMk cId="4044032126" sldId="594"/>
            <ac:picMk id="5" creationId="{3042035C-3B34-45D1-83EA-400C51843F1D}"/>
          </ac:picMkLst>
        </pc:picChg>
        <pc:picChg chg="mod">
          <ac:chgData name="Verwaal, Rene" userId="dcf22843-c8df-4c7d-8973-cf3d1c762886" providerId="ADAL" clId="{DC3FDA11-34B5-494D-AF2B-6448C4658177}" dt="2019-01-21T18:49:14.462" v="37" actId="1035"/>
          <ac:picMkLst>
            <pc:docMk/>
            <pc:sldMk cId="4044032126" sldId="594"/>
            <ac:picMk id="6" creationId="{478D951A-ACBF-483D-B5FE-CE14E0225B0B}"/>
          </ac:picMkLst>
        </pc:picChg>
        <pc:picChg chg="mod">
          <ac:chgData name="Verwaal, Rene" userId="dcf22843-c8df-4c7d-8973-cf3d1c762886" providerId="ADAL" clId="{DC3FDA11-34B5-494D-AF2B-6448C4658177}" dt="2019-01-21T18:49:14.462" v="37" actId="1035"/>
          <ac:picMkLst>
            <pc:docMk/>
            <pc:sldMk cId="4044032126" sldId="594"/>
            <ac:picMk id="23" creationId="{13CE49CD-857E-46E9-9D4D-5F85C1E8E3F0}"/>
          </ac:picMkLst>
        </pc:picChg>
      </pc:sldChg>
    </pc:docChg>
  </pc:docChgLst>
</pc:chgInfo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731" cy="495920"/>
          </a:xfrm>
          <a:prstGeom prst="rect">
            <a:avLst/>
          </a:prstGeom>
        </p:spPr>
        <p:txBody>
          <a:bodyPr vert="horz" lIns="62655" tIns="31327" rIns="62655" bIns="31327" rtlCol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863" y="0"/>
            <a:ext cx="2945731" cy="495920"/>
          </a:xfrm>
          <a:prstGeom prst="rect">
            <a:avLst/>
          </a:prstGeom>
        </p:spPr>
        <p:txBody>
          <a:bodyPr vert="horz" lIns="62655" tIns="31327" rIns="62655" bIns="31327" rtlCol="0"/>
          <a:lstStyle>
            <a:lvl1pPr algn="r">
              <a:defRPr sz="800"/>
            </a:lvl1pPr>
          </a:lstStyle>
          <a:p>
            <a:fld id="{56950CC5-115F-4218-B238-B03D47AA416E}" type="datetimeFigureOut">
              <a:rPr lang="en-US" smtClean="0"/>
              <a:t>1/21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121"/>
            <a:ext cx="2945731" cy="495920"/>
          </a:xfrm>
          <a:prstGeom prst="rect">
            <a:avLst/>
          </a:prstGeom>
        </p:spPr>
        <p:txBody>
          <a:bodyPr vert="horz" lIns="62655" tIns="31327" rIns="62655" bIns="31327" rtlCol="0"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863" y="9430121"/>
            <a:ext cx="2945731" cy="495920"/>
          </a:xfrm>
          <a:prstGeom prst="rect">
            <a:avLst/>
          </a:prstGeom>
        </p:spPr>
        <p:txBody>
          <a:bodyPr vert="horz" lIns="62655" tIns="31327" rIns="62655" bIns="31327" rtlCol="0" anchor="b"/>
          <a:lstStyle>
            <a:lvl1pPr algn="r">
              <a:defRPr sz="800"/>
            </a:lvl1pPr>
          </a:lstStyle>
          <a:p>
            <a:fld id="{24DCE1CE-F04D-48C7-9C1F-103A05F49C1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hl" descr="FOR INTERNAL USE ONLY"/>
          <p:cNvSpPr txBox="1"/>
          <p:nvPr/>
        </p:nvSpPr>
        <p:spPr>
          <a:xfrm>
            <a:off x="0" y="0"/>
            <a:ext cx="6797675" cy="155599"/>
          </a:xfrm>
          <a:prstGeom prst="rect">
            <a:avLst/>
          </a:prstGeom>
          <a:noFill/>
        </p:spPr>
        <p:txBody>
          <a:bodyPr vert="horz" lIns="62655" tIns="31327" rIns="62655" bIns="31327" rtlCol="0">
            <a:spAutoFit/>
          </a:bodyPr>
          <a:lstStyle/>
          <a:p>
            <a:r>
              <a:rPr lang="en-US" sz="600">
                <a:solidFill>
                  <a:srgbClr val="5F5F5F"/>
                </a:solidFill>
                <a:latin typeface="trebuchet ms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826069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731" cy="49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t" anchorCtr="0" compatLnSpc="1">
            <a:prstTxWarp prst="textNoShape">
              <a:avLst/>
            </a:prstTxWarp>
          </a:bodyPr>
          <a:lstStyle>
            <a:lvl1pPr defTabSz="956137">
              <a:defRPr>
                <a:latin typeface="Arial" charset="0"/>
              </a:defRPr>
            </a:lvl1pPr>
          </a:lstStyle>
          <a:p>
            <a:endParaRPr lang="en-US" altLang="en-US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863" y="0"/>
            <a:ext cx="2945731" cy="49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t" anchorCtr="0" compatLnSpc="1">
            <a:prstTxWarp prst="textNoShape">
              <a:avLst/>
            </a:prstTxWarp>
          </a:bodyPr>
          <a:lstStyle>
            <a:lvl1pPr algn="r" defTabSz="956137">
              <a:defRPr>
                <a:latin typeface="Arial" charset="0"/>
              </a:defRPr>
            </a:lvl1pPr>
          </a:lstStyle>
          <a:p>
            <a:endParaRPr lang="en-US" alt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663" y="744538"/>
            <a:ext cx="66103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00" y="4715607"/>
            <a:ext cx="5437275" cy="44676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121"/>
            <a:ext cx="2945731" cy="49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b" anchorCtr="0" compatLnSpc="1">
            <a:prstTxWarp prst="textNoShape">
              <a:avLst/>
            </a:prstTxWarp>
          </a:bodyPr>
          <a:lstStyle>
            <a:lvl1pPr defTabSz="956137">
              <a:defRPr>
                <a:latin typeface="Arial" charset="0"/>
              </a:defRPr>
            </a:lvl1pPr>
          </a:lstStyle>
          <a:p>
            <a:endParaRPr lang="en-US" altLang="en-US" dirty="0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863" y="9430121"/>
            <a:ext cx="2945731" cy="49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b" anchorCtr="0" compatLnSpc="1">
            <a:prstTxWarp prst="textNoShape">
              <a:avLst/>
            </a:prstTxWarp>
          </a:bodyPr>
          <a:lstStyle>
            <a:lvl1pPr algn="r" defTabSz="956137">
              <a:defRPr>
                <a:latin typeface="Arial" charset="0"/>
              </a:defRPr>
            </a:lvl1pPr>
          </a:lstStyle>
          <a:p>
            <a:fld id="{63E5534B-37AC-473B-A333-B5C1FF8C8D71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sp>
        <p:nvSpPr>
          <p:cNvPr id="2" name="hl" descr="FOR INTERNAL USE ONLY"/>
          <p:cNvSpPr txBox="1"/>
          <p:nvPr/>
        </p:nvSpPr>
        <p:spPr>
          <a:xfrm>
            <a:off x="0" y="0"/>
            <a:ext cx="6797675" cy="155599"/>
          </a:xfrm>
          <a:prstGeom prst="rect">
            <a:avLst/>
          </a:prstGeom>
          <a:noFill/>
        </p:spPr>
        <p:txBody>
          <a:bodyPr vert="horz" lIns="62655" tIns="31327" rIns="62655" bIns="31327" rtlCol="0">
            <a:spAutoFit/>
          </a:bodyPr>
          <a:lstStyle/>
          <a:p>
            <a:pPr algn="l"/>
            <a:r>
              <a:rPr lang="en-US" sz="600" b="0" i="0" u="none" baseline="0">
                <a:solidFill>
                  <a:srgbClr val="5F5F5F"/>
                </a:solidFill>
                <a:latin typeface="trebuchet ms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277308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663" y="744538"/>
            <a:ext cx="6610350" cy="3722687"/>
          </a:xfrm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charset="0"/>
              <a:cs typeface="Arial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4485" indent="-282494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9977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196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395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85950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37941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89932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41923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4934E50-5B53-4781-8300-AD395E97A553}" type="slidenum">
              <a:rPr lang="nl-NL" altLang="en-US" smtClean="0"/>
              <a:pPr eaLnBrk="1" hangingPunct="1">
                <a:spcBef>
                  <a:spcPct val="0"/>
                </a:spcBef>
              </a:pPr>
              <a:t>0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3898442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663" y="744538"/>
            <a:ext cx="6610350" cy="3722687"/>
          </a:xfrm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charset="0"/>
              <a:cs typeface="Arial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4485" indent="-282494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9977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196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395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85950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37941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89932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41923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4934E50-5B53-4781-8300-AD395E97A553}" type="slidenum">
              <a:rPr lang="nl-NL" altLang="en-US" smtClean="0"/>
              <a:pPr eaLnBrk="1" hangingPunct="1">
                <a:spcBef>
                  <a:spcPct val="0"/>
                </a:spcBef>
              </a:pPr>
              <a:t>1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4539453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663" y="744538"/>
            <a:ext cx="6610350" cy="3722687"/>
          </a:xfrm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charset="0"/>
              <a:cs typeface="Arial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4485" indent="-282494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9977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196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395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85950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37941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89932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41923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4934E50-5B53-4781-8300-AD395E97A553}" type="slidenum">
              <a:rPr lang="nl-NL" altLang="en-US" smtClean="0"/>
              <a:pPr eaLnBrk="1" hangingPunct="1">
                <a:spcBef>
                  <a:spcPct val="0"/>
                </a:spcBef>
              </a:pPr>
              <a:t>2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306523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0638" y="0"/>
          <a:ext cx="119062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4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38" y="0"/>
                        <a:ext cx="119062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2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04850" y="2719388"/>
            <a:ext cx="6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38" y="1042988"/>
            <a:ext cx="6802437" cy="4064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38" y="2173288"/>
            <a:ext cx="6792912" cy="304800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" name="hl" descr="FOR INTERNAL USE ONLY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0" i="0" u="none" baseline="0">
                <a:solidFill>
                  <a:srgbClr val="5F5F5F"/>
                </a:solidFill>
                <a:latin typeface="trebuchet ms"/>
              </a:rPr>
              <a:t>FOR INTERNAL USE ONLY</a:t>
            </a:r>
            <a:endParaRPr lang="en-US" sz="850" b="0" i="0" u="none" baseline="0" dirty="0">
              <a:solidFill>
                <a:srgbClr val="5F5F5F"/>
              </a:solidFill>
              <a:latin typeface="trebuchet ms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0"/>
            <a:ext cx="1432560" cy="2057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2254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5C966A-2284-436B-B3A6-E73374781F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59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5C966A-2284-436B-B3A6-E73374781F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025" y="381464"/>
            <a:ext cx="6788150" cy="818686"/>
          </a:xfrm>
        </p:spPr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7140474" y="4385625"/>
            <a:ext cx="1939460" cy="68725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35822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025" y="381464"/>
            <a:ext cx="6788150" cy="818686"/>
          </a:xfrm>
        </p:spPr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62FBA1-61D2-483F-BB62-5E5BEC80B1D4}"/>
              </a:ext>
            </a:extLst>
          </p:cNvPr>
          <p:cNvSpPr/>
          <p:nvPr userDrawn="1"/>
        </p:nvSpPr>
        <p:spPr bwMode="auto">
          <a:xfrm>
            <a:off x="7762875" y="0"/>
            <a:ext cx="1381125" cy="7143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184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1.png"/><Relationship Id="rId5" Type="http://schemas.openxmlformats.org/officeDocument/2006/relationships/vmlDrawing" Target="../drawings/vmlDrawing1.vml"/><Relationship Id="rId10" Type="http://schemas.openxmlformats.org/officeDocument/2006/relationships/oleObject" Target="../embeddings/oleObject1.bin"/><Relationship Id="rId4" Type="http://schemas.openxmlformats.org/officeDocument/2006/relationships/theme" Target="../theme/theme1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7" name="Rectangle 13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31492159"/>
              </p:ext>
            </p:extLst>
          </p:nvPr>
        </p:nvGraphicFramePr>
        <p:xfrm>
          <a:off x="20638" y="0"/>
          <a:ext cx="119062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1027" name="Rectangle 1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38" y="0"/>
                        <a:ext cx="119062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708025" y="793750"/>
            <a:ext cx="6788150" cy="40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717550" y="1525588"/>
            <a:ext cx="6791325" cy="1252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pic>
        <p:nvPicPr>
          <p:cNvPr id="1031" name="Picture 60" descr="logo_nw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167" t="86401"/>
          <a:stretch>
            <a:fillRect/>
          </a:stretch>
        </p:blipFill>
        <p:spPr bwMode="auto">
          <a:xfrm>
            <a:off x="7239000" y="4448175"/>
            <a:ext cx="1905000" cy="70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6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5963" y="200025"/>
            <a:ext cx="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900" dirty="0">
              <a:solidFill>
                <a:schemeClr val="bg2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957" y="110659"/>
            <a:ext cx="1154440" cy="392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 bwMode="auto">
          <a:xfrm>
            <a:off x="7140474" y="4385625"/>
            <a:ext cx="1939460" cy="68725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0"/>
            <a:ext cx="1432560" cy="2057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76" r:id="rId2"/>
    <p:sldLayoutId id="2147483680" r:id="rId3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2">
            <a:extLst>
              <a:ext uri="{FF2B5EF4-FFF2-40B4-BE49-F238E27FC236}">
                <a16:creationId xmlns:a16="http://schemas.microsoft.com/office/drawing/2014/main" id="{51DDDC33-13BB-4F64-9A10-EE8791A7E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957" y="110659"/>
            <a:ext cx="1154440" cy="392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57" name="Title 1">
            <a:extLst>
              <a:ext uri="{FF2B5EF4-FFF2-40B4-BE49-F238E27FC236}">
                <a16:creationId xmlns:a16="http://schemas.microsoft.com/office/drawing/2014/main" id="{D52797A0-7EFD-43C3-B653-360CD67AC54D}"/>
              </a:ext>
            </a:extLst>
          </p:cNvPr>
          <p:cNvSpPr txBox="1">
            <a:spLocks/>
          </p:cNvSpPr>
          <p:nvPr/>
        </p:nvSpPr>
        <p:spPr bwMode="auto">
          <a:xfrm>
            <a:off x="508988" y="144559"/>
            <a:ext cx="7004105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en-US" sz="2400" b="0" i="1" dirty="0">
                <a:solidFill>
                  <a:srgbClr val="0070BA"/>
                </a:solidFill>
                <a:latin typeface="Franklin Gothic Heavy" panose="020B0903020102020204" pitchFamily="34" charset="0"/>
              </a:rPr>
              <a:t>A 3-GENE PATHWAY ENABLES CAROTENOID PRODUCTION IN SACCHAROMYCES CEREVISIA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FE3098D-48EF-4E7A-ABD7-FB0F7066227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770"/>
          <a:stretch/>
        </p:blipFill>
        <p:spPr>
          <a:xfrm>
            <a:off x="750273" y="1324154"/>
            <a:ext cx="1959718" cy="285889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3CE49CD-857E-46E9-9D4D-5F85C1E8E3F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885"/>
          <a:stretch/>
        </p:blipFill>
        <p:spPr>
          <a:xfrm>
            <a:off x="6430840" y="1324153"/>
            <a:ext cx="1955244" cy="285889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3E968B6-61E8-4219-B59A-CDD12B02D4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5843" y="3057769"/>
            <a:ext cx="2872316" cy="6311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042035C-3B34-45D1-83EA-400C51843F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0416" y="3581502"/>
            <a:ext cx="2863170" cy="6311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78D951A-ACBF-483D-B5FE-CE14E0225B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35841" y="4105235"/>
            <a:ext cx="2872320" cy="6403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CA1A2E20-4184-40A8-8A88-0B663BFA3900}"/>
              </a:ext>
            </a:extLst>
          </p:cNvPr>
          <p:cNvSpPr/>
          <p:nvPr/>
        </p:nvSpPr>
        <p:spPr bwMode="auto">
          <a:xfrm>
            <a:off x="2604887" y="2083556"/>
            <a:ext cx="3934228" cy="669250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54000">
                <a:srgbClr val="FAD78D"/>
              </a:gs>
              <a:gs pos="69000">
                <a:srgbClr val="FCA904"/>
              </a:gs>
              <a:gs pos="83000">
                <a:srgbClr val="FCA904"/>
              </a:gs>
              <a:gs pos="100000">
                <a:srgbClr val="FCA904"/>
              </a:gs>
            </a:gsLst>
            <a:lin ang="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032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2">
            <a:extLst>
              <a:ext uri="{FF2B5EF4-FFF2-40B4-BE49-F238E27FC236}">
                <a16:creationId xmlns:a16="http://schemas.microsoft.com/office/drawing/2014/main" id="{51DDDC33-13BB-4F64-9A10-EE8791A7E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957" y="110659"/>
            <a:ext cx="1154440" cy="392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EC0BF8-0E10-4A16-8DEA-7F447ACE3E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4027" y="1295992"/>
            <a:ext cx="3726683" cy="27521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0275FBD-0FB7-453B-B056-04BFF882A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5762" y="1316235"/>
            <a:ext cx="2942546" cy="269032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CA6DC9F-CF15-4386-B7F5-4D40E81FD47D}"/>
              </a:ext>
            </a:extLst>
          </p:cNvPr>
          <p:cNvSpPr txBox="1">
            <a:spLocks/>
          </p:cNvSpPr>
          <p:nvPr/>
        </p:nvSpPr>
        <p:spPr bwMode="auto">
          <a:xfrm>
            <a:off x="508988" y="144559"/>
            <a:ext cx="7004105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en-US" sz="2400" b="0" i="1" dirty="0">
                <a:solidFill>
                  <a:srgbClr val="0070BA"/>
                </a:solidFill>
                <a:latin typeface="Franklin Gothic Heavy" panose="020B0903020102020204" pitchFamily="34" charset="0"/>
              </a:rPr>
              <a:t>MULTIPLEX GENOME ENGINEERING USING CAS12A AND A SINGLE crRNA ARRAY</a:t>
            </a:r>
          </a:p>
        </p:txBody>
      </p:sp>
    </p:spTree>
    <p:extLst>
      <p:ext uri="{BB962C8B-B14F-4D97-AF65-F5344CB8AC3E}">
        <p14:creationId xmlns:p14="http://schemas.microsoft.com/office/powerpoint/2010/main" val="21320740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E1D6E45-6389-4F49-B5AE-6DC54C2EA139}"/>
              </a:ext>
            </a:extLst>
          </p:cNvPr>
          <p:cNvSpPr/>
          <p:nvPr/>
        </p:nvSpPr>
        <p:spPr bwMode="auto">
          <a:xfrm>
            <a:off x="511817" y="1439508"/>
            <a:ext cx="613063" cy="4987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39050716-495A-4A4F-8E88-F71595340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957" y="110659"/>
            <a:ext cx="1154440" cy="392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D6C9736-B4F6-49C4-AC84-BF44A13DCE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384" y="1131976"/>
            <a:ext cx="8204648" cy="368602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A45A64C-4811-43FB-8CB1-5139D305FCEC}"/>
              </a:ext>
            </a:extLst>
          </p:cNvPr>
          <p:cNvSpPr txBox="1">
            <a:spLocks/>
          </p:cNvSpPr>
          <p:nvPr/>
        </p:nvSpPr>
        <p:spPr bwMode="auto">
          <a:xfrm>
            <a:off x="508988" y="144559"/>
            <a:ext cx="7004105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en-US" sz="2400" b="0" i="1" dirty="0">
                <a:solidFill>
                  <a:srgbClr val="0070BA"/>
                </a:solidFill>
                <a:latin typeface="Franklin Gothic Heavy" panose="020B0903020102020204" pitchFamily="34" charset="0"/>
              </a:rPr>
              <a:t>MULTIPLEX GENOME ENGINEERING USING CAS12A AND A SINGLE crRNA ARRAY</a:t>
            </a:r>
          </a:p>
        </p:txBody>
      </p:sp>
    </p:spTree>
    <p:extLst>
      <p:ext uri="{BB962C8B-B14F-4D97-AF65-F5344CB8AC3E}">
        <p14:creationId xmlns:p14="http://schemas.microsoft.com/office/powerpoint/2010/main" val="4007236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AWWIZARDSTEPS" val="0|1|4"/>
  <p:tag name="ZOAWLANGID" val="1033"/>
  <p:tag name="OAWDOCPROPSOURCE" val="&lt;DocProps&gt;&lt;DocProp UID=&quot;2002122011014149059130932&quot; EntryUID=&quot;2776&quot;&gt;&lt;Field Name=&quot;IDName&quot; Value=&quot;DSM Food Specialties B.V., Netherlands, 2613 AX Delft , Alexander Fleminglaan 1&quot;/&gt;&lt;Field Name=&quot;HeaderLegalEntity1&quot; Value=&quot;DSM Food Specialties B.V.&quot;/&gt;&lt;Field Name=&quot;HeaderLegalEntity2&quot; Value=&quot;&quot;/&gt;&lt;Field Name=&quot;Address1&quot; Value=&quot;Alexander Fleminglaan 1&quot;/&gt;&lt;Field Name=&quot;Address6&quot; Value=&quot;&quot;/&gt;&lt;Field Name=&quot;Fax&quot; Value=&quot;+31(0)297 624619&quot;/&gt;&lt;Field Name=&quot;CorrespondanceLegalDisclaimer3&quot; Value=&quot;&quot;/&gt;&lt;Field Name=&quot;CorrespondanceLegalDisclaimer4&quot; Value=&quot;&quot;/&gt;&lt;Field Name=&quot;CorrespondanceLegalDisclaimer5&quot; Value=&quot;&quot;/&gt;&lt;Field Name=&quot;CorrespondanceLegalDisclaimer6&quot; Value=&quot;&quot;/&gt;&lt;Field Name=&quot;CorrespondanceLegalDisclaimer7&quot; Value=&quot;&quot;/&gt;&lt;Field Name=&quot;CorrespondanceLegalDisclaimer8&quot; Value=&quot;&quot;/&gt;&lt;Field Name=&quot;CorrespondanceLegalDisclaimer9&quot; Value=&quot;&quot;/&gt;&lt;Field Name=&quot;CorrespondanceLegalDisclaimer10&quot; Value=&quot;&quot;/&gt;&lt;Field Name=&quot;Address5&quot; Value=&quot;Netherlands&quot;/&gt;&lt;Field Name=&quot;CorrespondanceLegalDisclaimer2&quot; Value=&quot;&quot;/&gt;&lt;Field Name=&quot;EmailCompleteAddressLineNew&quot; Value=&quot;Alexander Fleminglaan 1 | 2613 AX Delft | Netherlands&quot;/&gt;&lt;Field Name=&quot;Address2&quot; Value=&quot;2613 AX Delft&quot;/&gt;&lt;Field Name=&quot;Address3&quot; Value=&quot;P.O. Box 1&quot;/&gt;&lt;Field Name=&quot;CorporateInternet&quot; Value=&quot;&quot;/&gt;&lt;Field Name=&quot;Address4&quot; Value=&quot;2600 MA Delft&quot;/&gt;&lt;Field Name=&quot;Phone&quot; Value=&quot;+31(0)297 624619&quot;/&gt;&lt;Field Name=&quot;SalutationLegalEntity&quot; Value=&quot;&quot;/&gt;&lt;Field Name=&quot;City&quot; Value=&quot;&quot;/&gt;&lt;Field Name=&quot;CorrespondanceLegalDisclaimer1&quot; Value=&quot;Trade Register Number 27235314&quot;/&gt;&lt;Field Name=&quot;EmailCompleteAddressLineReply&quot; Value=&quot;&quot;/&gt;&lt;Field Name=&quot;EmailLegalDisclaimer&quot; Value=&quot;Trade Register Number 27235314&quot;/&gt;&lt;Field Name=&quot;EmailSocialMediaLinkTwitter&quot; Value=&quot;https://twitter.com/DSM&quot;/&gt;&lt;Field Name=&quot;EmailSocialMediaLinkLinkedIn&quot; Value=&quot;https://www.linkedin.com/company/3108&quot;/&gt;&lt;Field Name=&quot;EmailSocialMediaLinkYouTube&quot; Value=&quot;https://www.youtube.com/user/dsmcompany&quot;/&gt;&lt;Field Name=&quot;EmailSocialMediaLinkGoogle&quot; Value=&quot;https://plus.google.com/117689312065000346895#117689312065000346895/posts&quot;/&gt;&lt;Field Name=&quot;EmailSocialMediaLinkFacebook&quot; Value=&quot;https://www.facebook.com/DSMcompany&quot;/&gt;&lt;Field Name=&quot;EmailSocialMediaLinkWeibo&quot; Value=&quot;&quot;/&gt;&lt;Field Name=&quot;EmailSocialMediaLinkYammer&quot; Value=&quot;&quot;/&gt;&lt;Field Name=&quot;Data_UID&quot; Value=&quot;2776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212191811121321310321301031x&quot; EntryUID=&quot;2012042615085570795191&quot;&gt;&lt;Field Name=&quot;IDName&quot; Value=&quot;Hans Roubos, Principal Scientist&quot;/&gt;&lt;Field Name=&quot;Name&quot; Value=&quot;Hans Roubos&quot;/&gt;&lt;Field Name=&quot;Initials&quot; Value=&quot;&quot;/&gt;&lt;Field Name=&quot;Function1&quot; Value=&quot;Principal Scientist Bioinformatics &amp;amp; Modeling&quot;/&gt;&lt;Field Name=&quot;Function2&quot; Value=&quot;&quot;/&gt;&lt;Field Name=&quot;Phone&quot; Value=&quot;+31 (0)15 2792147&quot;/&gt;&lt;Field Name=&quot;Fax&quot; Value=&quot;&quot;/&gt;&lt;Field Name=&quot;Mobile&quot; Value=&quot;&quot;/&gt;&lt;Field Name=&quot;EMail&quot; Value=&quot;&quot;/&gt;&lt;Field Name=&quot;Data_UID&quot; Value=&quot;2012042615085570795191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2122010583847234010578&quot; EntryUID=&quot;2012042615085570795191&quot;&gt;&lt;Field Name=&quot;IDName&quot; Value=&quot;Hans Roubos, Principal Scientist&quot;/&gt;&lt;Field Name=&quot;Name&quot; Value=&quot;Hans Roubos&quot;/&gt;&lt;Field Name=&quot;Initials&quot; Value=&quot;&quot;/&gt;&lt;Field Name=&quot;Function1&quot; Value=&quot;Principal Scientist Bioinformatics &amp;amp; Modeling&quot;/&gt;&lt;Field Name=&quot;Function2&quot; Value=&quot;&quot;/&gt;&lt;Field Name=&quot;Phone&quot; Value=&quot;+31 (0)15 2792147&quot;/&gt;&lt;Field Name=&quot;Fax&quot; Value=&quot;&quot;/&gt;&lt;Field Name=&quot;Mobile&quot; Value=&quot;&quot;/&gt;&lt;Field Name=&quot;EMail&quot; Value=&quot;&quot;/&gt;&lt;Field Name=&quot;Data_UID&quot; Value=&quot;2012042615085570795191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3061115381095709037&quot; EntryUID=&quot;2003121817293296325874&quot;&gt;&lt;Field Name=&quot;IDName&quot; Value=&quot;(None)&quot;/&gt;&lt;/DocProp&gt;&lt;DocProp UID=&quot;2003982345795694395674&quot; EntryUID=&quot;2003121817293296325874&quot;&gt;&lt;Field Name=&quot;IDName&quot; Value=&quot;(None)&quot;/&gt;&lt;/DocProp&gt;&lt;DocProp UID=&quot;2003068475891465291384&quot; EntryUID=&quot;2003121817293296325874&quot;&gt;&lt;Field Name=&quot;IDName&quot; Value=&quot;(None)&quot;/&gt;&lt;/DocProp&gt;&lt;DocProp UID=&quot;2010101345972347189798&quot; EntryUID=&quot;2003121817293296325874&quot;&gt;&lt;Field Name=&quot;IDName&quot; Value=&quot;(None)&quot;/&gt;&lt;/DocProp&gt;&lt;DocProp UID=&quot;2010324895892663678998&quot; EntryUID=&quot;2012042615085570795191&quot;&gt;&lt;Field Name=&quot;IDName&quot; Value=&quot;Hans Roubos, Principal Scientist&quot;/&gt;&lt;Field Name=&quot;Name&quot; Value=&quot;Hans Roubos&quot;/&gt;&lt;Field Name=&quot;Initials&quot; Value=&quot;&quot;/&gt;&lt;Field Name=&quot;Function1&quot; Value=&quot;Principal Scientist Bioinformatics &amp;amp; Modeling&quot;/&gt;&lt;Field Name=&quot;Function2&quot; Value=&quot;&quot;/&gt;&lt;Field Name=&quot;Phone&quot; Value=&quot;+31 (0)15 2792147&quot;/&gt;&lt;Field Name=&quot;Fax&quot; Value=&quot;&quot;/&gt;&lt;Field Name=&quot;Mobile&quot; Value=&quot;&quot;/&gt;&lt;Field Name=&quot;EMail&quot; Value=&quot;&quot;/&gt;&lt;Field Name=&quot;Data_UID&quot; Value=&quot;2012042615085570795191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4565435644543565464545&quot; EntryUID=&quot;2012042615085570795191&quot;&gt;&lt;Field Name=&quot;IDName&quot; Value=&quot;Hans Roubos, Principal Scientist&quot;/&gt;&lt;Field Name=&quot;Name&quot; Value=&quot;Hans Roubos&quot;/&gt;&lt;Field Name=&quot;Initials&quot; Value=&quot;&quot;/&gt;&lt;Field Name=&quot;Function1&quot; Value=&quot;Principal Scientist Bioinformatics &amp;amp; Modeling&quot;/&gt;&lt;Field Name=&quot;Function2&quot; Value=&quot;&quot;/&gt;&lt;Field Name=&quot;Phone&quot; Value=&quot;+31 (0)15 2792147&quot;/&gt;&lt;Field Name=&quot;Fax&quot; Value=&quot;&quot;/&gt;&lt;Field Name=&quot;Mobile&quot; Value=&quot;&quot;/&gt;&lt;Field Name=&quot;EMail&quot; Value=&quot;&quot;/&gt;&lt;Field Name=&quot;Data_UID&quot; Value=&quot;2012042615085570795191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11383784387345873647&quot; EntryUID=&quot;2012042615085559152157&quot;&gt;&lt;Field Name=&quot;IDName&quot; Value=&quot;DBC-GEN&quot;/&gt;&lt;Field Name=&quot;Name1&quot; Value=&quot;&quot;/&gt;&lt;Field Name=&quot;Name2&quot; Value=&quot;&quot;/&gt;&lt;Field Name=&quot;Name3&quot; Value=&quot;&quot;/&gt;&lt;Field Name=&quot;Internet1&quot; Value=&quot;&quot;/&gt;&lt;Field Name=&quot;BusinessGroup&quot; Value=&quot;&quot;/&gt;&lt;Field Name=&quot;Internet2&quot; Value=&quot;&quot;/&gt;&lt;Field Name=&quot;Data_UID&quot; Value=&quot;2012042615085559152157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4112217333376588294&quot; EntryUID=&quot;2004123010144120300001&quot;&gt;&lt;Field UID=&quot;2010971616312990191265&quot; Name=&quot;PresentationTitle&quot; Value=&quot;&quot;/&gt;&lt;Field UID=&quot;201038475647565768878&quot; Name=&quot;PresentationDate&quot; Value=&quot;November 27, 2015&quot;/&gt;&lt;/DocProp&gt;&lt;/DocProps&gt;&#10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TBX..eKkeB1U.yt0z1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M17dNBD0S0vGQIRyqB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C4741ABFC12745B6047DCDF9357222" ma:contentTypeVersion="15" ma:contentTypeDescription="Create a new document." ma:contentTypeScope="" ma:versionID="171d9b2d04a9858b65a2b79f38bae691">
  <xsd:schema xmlns:xsd="http://www.w3.org/2001/XMLSchema" xmlns:xs="http://www.w3.org/2001/XMLSchema" xmlns:p="http://schemas.microsoft.com/office/2006/metadata/properties" xmlns:ns2="5a2251cd-bd5e-462d-8f0e-b8d48ef43808" xmlns:ns3="02609e52-1897-49bd-ad9c-44a5711e1f59" xmlns:ns4="fd442112-3c9c-47bb-9972-bef6079711ae" targetNamespace="http://schemas.microsoft.com/office/2006/metadata/properties" ma:root="true" ma:fieldsID="82bd4bed90c516312e17a18320c84fb8" ns2:_="" ns3:_="" ns4:_="">
    <xsd:import namespace="5a2251cd-bd5e-462d-8f0e-b8d48ef43808"/>
    <xsd:import namespace="02609e52-1897-49bd-ad9c-44a5711e1f59"/>
    <xsd:import namespace="fd442112-3c9c-47bb-9972-bef6079711a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DSMClassification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2251cd-bd5e-462d-8f0e-b8d48ef4380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18c12a9c-dedd-42f6-b6b4-37e6640d83db}" ma:internalName="TaxCatchAll" ma:showField="CatchAllData" ma:web="254589ea-699c-4ccf-be60-a9c19ccce3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18c12a9c-dedd-42f6-b6b4-37e6640d83db}" ma:internalName="TaxCatchAllLabel" ma:readOnly="true" ma:showField="CatchAllDataLabel" ma:web="254589ea-699c-4ccf-be60-a9c19ccce3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SMClassification" ma:index="10" nillable="true" ma:displayName="DSMClassification" ma:format="Dropdown" ma:internalName="DSMClassification">
      <xsd:simpleType>
        <xsd:restriction base="dms:Choice">
          <xsd:enumeration value="CONFIDENTIAL"/>
          <xsd:enumeration value="CLASSIFIED PERSONNEL INFORMATION"/>
          <xsd:enumeration value="FOR INTERNAL USE ONLY"/>
          <xsd:enumeration value="PUBLIC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609e52-1897-49bd-ad9c-44a5711e1f5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4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442112-3c9c-47bb-9972-bef6079711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a2251cd-bd5e-462d-8f0e-b8d48ef43808"/>
    <DSMClassification xmlns="5a2251cd-bd5e-462d-8f0e-b8d48ef43808" xsi:nil="true"/>
    <SharedWithUsers xmlns="02609e52-1897-49bd-ad9c-44a5711e1f59">
      <UserInfo>
        <DisplayName>Roubos, Hans</DisplayName>
        <AccountId>22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2B6E60A-E31C-487B-BFA6-6D37C3252AF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206837-C70D-481E-AEAD-EE17172452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2251cd-bd5e-462d-8f0e-b8d48ef43808"/>
    <ds:schemaRef ds:uri="02609e52-1897-49bd-ad9c-44a5711e1f59"/>
    <ds:schemaRef ds:uri="fd442112-3c9c-47bb-9972-bef6079711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A6725DB-EE5D-4381-A92C-BA1D8BBB185B}">
  <ds:schemaRefs>
    <ds:schemaRef ds:uri="http://schemas.microsoft.com/office/infopath/2007/PartnerControls"/>
    <ds:schemaRef ds:uri="http://purl.org/dc/dcmitype/"/>
    <ds:schemaRef ds:uri="http://purl.org/dc/terms/"/>
    <ds:schemaRef ds:uri="02609e52-1897-49bd-ad9c-44a5711e1f59"/>
    <ds:schemaRef ds:uri="http://schemas.microsoft.com/office/2006/documentManagement/types"/>
    <ds:schemaRef ds:uri="http://www.w3.org/XML/1998/namespace"/>
    <ds:schemaRef ds:uri="http://purl.org/dc/elements/1.1/"/>
    <ds:schemaRef ds:uri="http://schemas.openxmlformats.org/package/2006/metadata/core-properties"/>
    <ds:schemaRef ds:uri="5a2251cd-bd5e-462d-8f0e-b8d48ef43808"/>
    <ds:schemaRef ds:uri="fd442112-3c9c-47bb-9972-bef6079711ae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94</TotalTime>
  <Words>32</Words>
  <Application>Microsoft Office PowerPoint</Application>
  <PresentationFormat>Custom</PresentationFormat>
  <Paragraphs>6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Franklin Gothic Heavy</vt:lpstr>
      <vt:lpstr>Trebuchet MS</vt:lpstr>
      <vt:lpstr>Trebuchet MS</vt:lpstr>
      <vt:lpstr>Default Design</vt:lpstr>
      <vt:lpstr>think-cell Slide</vt:lpstr>
      <vt:lpstr>PowerPoint Presentation</vt:lpstr>
      <vt:lpstr>PowerPoint Presentation</vt:lpstr>
      <vt:lpstr>PowerPoint Presentation</vt:lpstr>
    </vt:vector>
  </TitlesOfParts>
  <Company>Valan-Cre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nne de Weerd</dc:creator>
  <cp:lastModifiedBy>Verwaal, Rene</cp:lastModifiedBy>
  <cp:revision>418</cp:revision>
  <dcterms:created xsi:type="dcterms:W3CDTF">2010-11-03T12:04:43Z</dcterms:created>
  <dcterms:modified xsi:type="dcterms:W3CDTF">2019-01-21T18:4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9257240-1282-443c-a411-5d8c67747fb3</vt:lpwstr>
  </property>
  <property fmtid="{D5CDD505-2E9C-101B-9397-08002B2CF9AE}" pid="3" name="ContentTypeId">
    <vt:lpwstr>0x01010099C4741ABFC12745B6047DCDF9357222</vt:lpwstr>
  </property>
  <property fmtid="{D5CDD505-2E9C-101B-9397-08002B2CF9AE}" pid="4" name="DSMClassification">
    <vt:lpwstr>FOR INTERNAL USE ONLY</vt:lpwstr>
  </property>
  <property fmtid="{D5CDD505-2E9C-101B-9397-08002B2CF9AE}" pid="5" name="MSIP_Label_2ff753fd-faf2-4608-9b59-553f003adcdf_Enabled">
    <vt:lpwstr>True</vt:lpwstr>
  </property>
  <property fmtid="{D5CDD505-2E9C-101B-9397-08002B2CF9AE}" pid="6" name="MSIP_Label_2ff753fd-faf2-4608-9b59-553f003adcdf_SiteId">
    <vt:lpwstr>49618402-6ea3-441d-957d-7df8773fee54</vt:lpwstr>
  </property>
  <property fmtid="{D5CDD505-2E9C-101B-9397-08002B2CF9AE}" pid="7" name="MSIP_Label_2ff753fd-faf2-4608-9b59-553f003adcdf_Owner">
    <vt:lpwstr>Rene.Verwaal@dsm.com</vt:lpwstr>
  </property>
  <property fmtid="{D5CDD505-2E9C-101B-9397-08002B2CF9AE}" pid="8" name="MSIP_Label_2ff753fd-faf2-4608-9b59-553f003adcdf_SetDate">
    <vt:lpwstr>2018-09-25T09:25:20.9328965Z</vt:lpwstr>
  </property>
  <property fmtid="{D5CDD505-2E9C-101B-9397-08002B2CF9AE}" pid="9" name="MSIP_Label_2ff753fd-faf2-4608-9b59-553f003adcdf_Name">
    <vt:lpwstr>Public</vt:lpwstr>
  </property>
  <property fmtid="{D5CDD505-2E9C-101B-9397-08002B2CF9AE}" pid="10" name="MSIP_Label_2ff753fd-faf2-4608-9b59-553f003adcdf_Application">
    <vt:lpwstr>Microsoft Azure Information Protection</vt:lpwstr>
  </property>
  <property fmtid="{D5CDD505-2E9C-101B-9397-08002B2CF9AE}" pid="11" name="MSIP_Label_2ff753fd-faf2-4608-9b59-553f003adcdf_Extended_MSFT_Method">
    <vt:lpwstr>Manual</vt:lpwstr>
  </property>
  <property fmtid="{D5CDD505-2E9C-101B-9397-08002B2CF9AE}" pid="12" name="Sensitivity">
    <vt:lpwstr>Public</vt:lpwstr>
  </property>
</Properties>
</file>